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4"/>
  </p:notesMasterIdLst>
  <p:handoutMasterIdLst>
    <p:handoutMasterId r:id="rId45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55" r:id="rId12"/>
    <p:sldId id="348" r:id="rId13"/>
    <p:sldId id="349" r:id="rId14"/>
    <p:sldId id="351" r:id="rId15"/>
    <p:sldId id="350" r:id="rId16"/>
    <p:sldId id="352" r:id="rId17"/>
    <p:sldId id="353" r:id="rId18"/>
    <p:sldId id="354" r:id="rId19"/>
    <p:sldId id="344" r:id="rId20"/>
    <p:sldId id="321" r:id="rId21"/>
    <p:sldId id="322" r:id="rId22"/>
    <p:sldId id="345" r:id="rId23"/>
    <p:sldId id="320" r:id="rId24"/>
    <p:sldId id="323" r:id="rId25"/>
    <p:sldId id="324" r:id="rId26"/>
    <p:sldId id="325" r:id="rId27"/>
    <p:sldId id="347" r:id="rId28"/>
    <p:sldId id="338" r:id="rId29"/>
    <p:sldId id="326" r:id="rId30"/>
    <p:sldId id="327" r:id="rId31"/>
    <p:sldId id="328" r:id="rId32"/>
    <p:sldId id="339" r:id="rId33"/>
    <p:sldId id="329" r:id="rId34"/>
    <p:sldId id="330" r:id="rId35"/>
    <p:sldId id="331" r:id="rId36"/>
    <p:sldId id="346" r:id="rId37"/>
    <p:sldId id="340" r:id="rId38"/>
    <p:sldId id="332" r:id="rId39"/>
    <p:sldId id="333" r:id="rId40"/>
    <p:sldId id="334" r:id="rId41"/>
    <p:sldId id="335" r:id="rId42"/>
    <p:sldId id="336" r:id="rId43"/>
  </p:sldIdLst>
  <p:sldSz cx="9144000" cy="6858000" type="screen4x3"/>
  <p:notesSz cx="6858000" cy="9144000"/>
  <p:custDataLst>
    <p:tags r:id="rId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114" d="100"/>
          <a:sy n="114" d="100"/>
        </p:scale>
        <p:origin x="-848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printerSettings" Target="printerSettings/printerSettings1.bin"/><Relationship Id="rId47" Type="http://schemas.openxmlformats.org/officeDocument/2006/relationships/tags" Target="tags/tag1.xml"/><Relationship Id="rId48" Type="http://schemas.openxmlformats.org/officeDocument/2006/relationships/presProps" Target="presProps.xml"/><Relationship Id="rId49" Type="http://schemas.openxmlformats.org/officeDocument/2006/relationships/viewProps" Target="viewProp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50" Type="http://schemas.openxmlformats.org/officeDocument/2006/relationships/theme" Target="theme/theme1.xml"/><Relationship Id="rId5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notesMaster" Target="notesMasters/notesMaster1.xml"/><Relationship Id="rId45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</dgm:pt>
    <dgm:pt modelId="{490BACCA-3EE7-FA48-8554-19FB2EE8273B}" type="pres">
      <dgm:prSet presAssocID="{D77DBDB0-AA14-6344-B997-F7C9AAB1393F}" presName="connTx" presStyleLbl="parChTrans1D2" presStyleIdx="0" presStyleCnt="9"/>
      <dgm:spPr/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</dgm:pt>
    <dgm:pt modelId="{AB33012A-8C54-6245-96E8-E0111C081E33}" type="pres">
      <dgm:prSet presAssocID="{5ADEDBF8-717E-F946-B11E-4CC50D9988C8}" presName="connTx" presStyleLbl="parChTrans1D2" presStyleIdx="0" presStyleCnt="6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</dgm:pt>
    <dgm:pt modelId="{04D949B2-6FA5-4948-B335-DDA85E4E65B1}" type="pres">
      <dgm:prSet presAssocID="{63D1AE09-4F57-A443-A1FD-2A3034962097}" presName="connTx" presStyleLbl="parChTrans1D2" presStyleIdx="1" presStyleCnt="6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</dgm:pt>
    <dgm:pt modelId="{0637CC4E-4D30-724B-9FFD-C7AED88FB068}" type="pres">
      <dgm:prSet presAssocID="{436C1B23-A07F-9344-ADAB-98173723FB7F}" presName="connTx" presStyleLbl="parChTrans1D3" presStyleIdx="0" presStyleCnt="6"/>
      <dgm:spPr/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</dgm:pt>
    <dgm:pt modelId="{C9D429FE-9539-9D4A-9750-F9C781598EC4}" type="pres">
      <dgm:prSet presAssocID="{E543121D-95F7-3E47-B964-B7B948211EBC}" presName="connTx" presStyleLbl="parChTrans1D3" presStyleIdx="1" presStyleCnt="6"/>
      <dgm:spPr/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</dgm:pt>
    <dgm:pt modelId="{756F0DD8-11FC-8647-8FC8-7AAB634C5717}" type="pres">
      <dgm:prSet presAssocID="{8BC59F7D-94BF-3B43-BF5D-5485F4809DAD}" presName="connTx" presStyleLbl="parChTrans1D3" presStyleIdx="2" presStyleCnt="6"/>
      <dgm:spPr/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</dgm:pt>
    <dgm:pt modelId="{E59B7B1E-3287-FB43-A405-2A84667315EC}" type="pres">
      <dgm:prSet presAssocID="{5E2A7D5A-EFB6-9C4F-A960-3D6903C39497}" presName="connTx" presStyleLbl="parChTrans1D2" presStyleIdx="2" presStyleCnt="6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</dgm:pt>
    <dgm:pt modelId="{348A166D-A55E-9147-99A1-FB87A4CF61A8}" type="pres">
      <dgm:prSet presAssocID="{6577C284-4D20-2C4A-88D4-29EB6FEAC9C2}" presName="connTx" presStyleLbl="parChTrans1D2" presStyleIdx="3" presStyleCnt="6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</dgm:pt>
    <dgm:pt modelId="{27DD3461-0240-774A-8774-CC1A00541B61}" type="pres">
      <dgm:prSet presAssocID="{C24B2AD7-9651-4B45-A8F4-0314EA8D4874}" presName="connTx" presStyleLbl="parChTrans1D3" presStyleIdx="3" presStyleCnt="6"/>
      <dgm:spPr/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</dgm:pt>
    <dgm:pt modelId="{569810E7-365A-FB48-A979-23DA3465EF4F}" type="pres">
      <dgm:prSet presAssocID="{134C8002-4160-B046-917F-B9172D6D011E}" presName="connTx" presStyleLbl="parChTrans1D2" presStyleIdx="4" presStyleCnt="6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</dgm:pt>
    <dgm:pt modelId="{A635BF91-C219-EB46-A0CA-F8A2CE3D7BF3}" type="pres">
      <dgm:prSet presAssocID="{08733529-A5F0-F14D-8E75-74214329B040}" presName="connTx" presStyleLbl="parChTrans1D3" presStyleIdx="4" presStyleCnt="6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</dgm:pt>
    <dgm:pt modelId="{6FA82A28-C585-714B-9AF5-DA995FB3DF53}" type="pres">
      <dgm:prSet presAssocID="{BBD19103-9913-2A49-AB85-F021773D5328}" presName="connTx" presStyleLbl="parChTrans1D3" presStyleIdx="5" presStyleCnt="6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</dgm:pt>
    <dgm:pt modelId="{03FF4E40-A0E8-E040-A52F-D68379DCC349}" type="pres">
      <dgm:prSet presAssocID="{9EB1846C-ABB5-9E44-B030-7BE73C498E59}" presName="connTx" presStyleLbl="parChTrans1D2" presStyleIdx="5" presStyleCnt="6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</dgm:pt>
    <dgm:pt modelId="{AB33012A-8C54-6245-96E8-E0111C081E33}" type="pres">
      <dgm:prSet presAssocID="{5ADEDBF8-717E-F946-B11E-4CC50D9988C8}" presName="connTx" presStyleLbl="parChTrans1D2" presStyleIdx="0" presStyleCnt="9"/>
      <dgm:spPr/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</dgm:pt>
    <dgm:pt modelId="{04D949B2-6FA5-4948-B335-DDA85E4E65B1}" type="pres">
      <dgm:prSet presAssocID="{63D1AE09-4F57-A443-A1FD-2A3034962097}" presName="connTx" presStyleLbl="parChTrans1D2" presStyleIdx="1" presStyleCnt="9"/>
      <dgm:spPr/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</dgm:pt>
    <dgm:pt modelId="{9D34DFA2-4C7C-5642-ADF0-8F3EDFBC71AF}" type="pres">
      <dgm:prSet presAssocID="{07A4D93E-7AFB-4E4D-8384-CFBE7085BD56}" presName="connTx" presStyleLbl="parChTrans1D2" presStyleIdx="2" presStyleCnt="9"/>
      <dgm:spPr/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</dgm:pt>
    <dgm:pt modelId="{DB79995B-B315-9C4C-BCA0-97AF2CF960CD}" type="pres">
      <dgm:prSet presAssocID="{B3C905E3-C669-9942-AEC9-21A47474CEB4}" presName="connTx" presStyleLbl="parChTrans1D2" presStyleIdx="3" presStyleCnt="9"/>
      <dgm:spPr/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</dgm:pt>
    <dgm:pt modelId="{E59B7B1E-3287-FB43-A405-2A84667315EC}" type="pres">
      <dgm:prSet presAssocID="{5E2A7D5A-EFB6-9C4F-A960-3D6903C39497}" presName="connTx" presStyleLbl="parChTrans1D2" presStyleIdx="4" presStyleCnt="9"/>
      <dgm:spPr/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</dgm:pt>
    <dgm:pt modelId="{348A166D-A55E-9147-99A1-FB87A4CF61A8}" type="pres">
      <dgm:prSet presAssocID="{6577C284-4D20-2C4A-88D4-29EB6FEAC9C2}" presName="connTx" presStyleLbl="parChTrans1D2" presStyleIdx="5" presStyleCnt="9"/>
      <dgm:spPr/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</dgm:pt>
    <dgm:pt modelId="{569810E7-365A-FB48-A979-23DA3465EF4F}" type="pres">
      <dgm:prSet presAssocID="{134C8002-4160-B046-917F-B9172D6D011E}" presName="connTx" presStyleLbl="parChTrans1D2" presStyleIdx="6" presStyleCnt="9"/>
      <dgm:spPr/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</dgm:pt>
    <dgm:pt modelId="{A635BF91-C219-EB46-A0CA-F8A2CE3D7BF3}" type="pres">
      <dgm:prSet presAssocID="{08733529-A5F0-F14D-8E75-74214329B040}" presName="connTx" presStyleLbl="parChTrans1D3" presStyleIdx="0" presStyleCnt="4"/>
      <dgm:spPr/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</dgm:pt>
    <dgm:pt modelId="{6FA82A28-C585-714B-9AF5-DA995FB3DF53}" type="pres">
      <dgm:prSet presAssocID="{BBD19103-9913-2A49-AB85-F021773D5328}" presName="connTx" presStyleLbl="parChTrans1D3" presStyleIdx="1" presStyleCnt="4"/>
      <dgm:spPr/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</dgm:pt>
    <dgm:pt modelId="{03FF4E40-A0E8-E040-A52F-D68379DCC349}" type="pres">
      <dgm:prSet presAssocID="{9EB1846C-ABB5-9E44-B030-7BE73C498E59}" presName="connTx" presStyleLbl="parChTrans1D2" presStyleIdx="7" presStyleCnt="9"/>
      <dgm:spPr/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</dgm:pt>
    <dgm:pt modelId="{7C4C248C-9225-884B-A9F0-E626AEAE24C9}" type="pres">
      <dgm:prSet presAssocID="{B4B50EEB-1538-DF45-B07F-7D0FD83C8ED3}" presName="connTx" presStyleLbl="parChTrans1D2" presStyleIdx="8" presStyleCnt="9"/>
      <dgm:spPr/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</dgm:pt>
    <dgm:pt modelId="{12E46C15-0F90-7843-8745-7EFB583D5A38}" type="pres">
      <dgm:prSet presAssocID="{73DD7058-02B4-D24C-9D13-AF75375EF8E6}" presName="connTx" presStyleLbl="parChTrans1D3" presStyleIdx="2" presStyleCnt="4"/>
      <dgm:spPr/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</dgm:pt>
    <dgm:pt modelId="{62990B64-CF79-7146-BF7B-48A759C6E310}" type="pres">
      <dgm:prSet presAssocID="{90FBF026-5068-6043-A75B-344D047E346D}" presName="connTx" presStyleLbl="parChTrans1D3" presStyleIdx="3" presStyleCnt="4"/>
      <dgm:spPr/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Relationship Id="rId11" Type="http://schemas.microsoft.com/office/2007/relationships/diagramDrawing" Target="../diagrams/drawing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Relationship Id="rId9" Type="http://schemas.openxmlformats.org/officeDocument/2006/relationships/diagramQuickStyle" Target="../diagrams/quickStyle7.xml"/><Relationship Id="rId10" Type="http://schemas.openxmlformats.org/officeDocument/2006/relationships/diagramColors" Target="../diagrams/colors7.xml"/><Relationship Id="rId11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4" Type="http://schemas.openxmlformats.org/officeDocument/2006/relationships/diagramQuickStyle" Target="../diagrams/quickStyle8.xml"/><Relationship Id="rId5" Type="http://schemas.openxmlformats.org/officeDocument/2006/relationships/diagramColors" Target="../diagrams/colors8.xml"/><Relationship Id="rId6" Type="http://schemas.microsoft.com/office/2007/relationships/diagramDrawing" Target="../diagrams/drawing8.xml"/><Relationship Id="rId7" Type="http://schemas.openxmlformats.org/officeDocument/2006/relationships/diagramData" Target="../diagrams/data9.xml"/><Relationship Id="rId8" Type="http://schemas.openxmlformats.org/officeDocument/2006/relationships/diagramLayout" Target="../diagrams/layout9.xml"/><Relationship Id="rId9" Type="http://schemas.openxmlformats.org/officeDocument/2006/relationships/diagramQuickStyle" Target="../diagrams/quickStyle9.xml"/><Relationship Id="rId10" Type="http://schemas.openxmlformats.org/officeDocument/2006/relationships/diagramColors" Target="../diagrams/colors9.xml"/><Relationship Id="rId11" Type="http://schemas.microsoft.com/office/2007/relationships/diagramDrawing" Target="../diagrams/drawing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diagramData" Target="../diagrams/data11.xml"/><Relationship Id="rId8" Type="http://schemas.openxmlformats.org/officeDocument/2006/relationships/diagramLayout" Target="../diagrams/layout11.xml"/><Relationship Id="rId9" Type="http://schemas.openxmlformats.org/officeDocument/2006/relationships/diagramQuickStyle" Target="../diagrams/quickStyle11.xml"/><Relationship Id="rId10" Type="http://schemas.openxmlformats.org/officeDocument/2006/relationships/diagramColors" Target="../diagrams/colors11.xml"/><Relationship Id="rId11" Type="http://schemas.microsoft.com/office/2007/relationships/diagramDrawing" Target="../diagrams/drawing1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4" Type="http://schemas.openxmlformats.org/officeDocument/2006/relationships/diagramQuickStyle" Target="../diagrams/quickStyle12.xml"/><Relationship Id="rId5" Type="http://schemas.openxmlformats.org/officeDocument/2006/relationships/diagramColors" Target="../diagrams/colors12.xml"/><Relationship Id="rId6" Type="http://schemas.microsoft.com/office/2007/relationships/diagramDrawing" Target="../diagrams/drawing12.xml"/><Relationship Id="rId7" Type="http://schemas.openxmlformats.org/officeDocument/2006/relationships/diagramData" Target="../diagrams/data13.xml"/><Relationship Id="rId8" Type="http://schemas.openxmlformats.org/officeDocument/2006/relationships/diagramLayout" Target="../diagrams/layout13.xml"/><Relationship Id="rId9" Type="http://schemas.openxmlformats.org/officeDocument/2006/relationships/diagramQuickStyle" Target="../diagrams/quickStyle13.xml"/><Relationship Id="rId10" Type="http://schemas.openxmlformats.org/officeDocument/2006/relationships/diagramColors" Target="../diagrams/colors13.xml"/><Relationship Id="rId11" Type="http://schemas.microsoft.com/office/2007/relationships/diagramDrawing" Target="../diagrams/drawing1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4" Type="http://schemas.openxmlformats.org/officeDocument/2006/relationships/diagramQuickStyle" Target="../diagrams/quickStyle14.xml"/><Relationship Id="rId5" Type="http://schemas.openxmlformats.org/officeDocument/2006/relationships/diagramColors" Target="../diagrams/colors14.xml"/><Relationship Id="rId6" Type="http://schemas.microsoft.com/office/2007/relationships/diagramDrawing" Target="../diagrams/drawing14.xml"/><Relationship Id="rId7" Type="http://schemas.openxmlformats.org/officeDocument/2006/relationships/diagramData" Target="../diagrams/data15.xml"/><Relationship Id="rId8" Type="http://schemas.openxmlformats.org/officeDocument/2006/relationships/diagramLayout" Target="../diagrams/layout15.xml"/><Relationship Id="rId9" Type="http://schemas.openxmlformats.org/officeDocument/2006/relationships/diagramQuickStyle" Target="../diagrams/quickStyle15.xml"/><Relationship Id="rId10" Type="http://schemas.openxmlformats.org/officeDocument/2006/relationships/diagramColors" Target="../diagrams/colors15.xml"/><Relationship Id="rId11" Type="http://schemas.microsoft.com/office/2007/relationships/diagramDrawing" Target="../diagrams/drawing1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4" Type="http://schemas.openxmlformats.org/officeDocument/2006/relationships/diagramQuickStyle" Target="../diagrams/quickStyle16.xml"/><Relationship Id="rId5" Type="http://schemas.openxmlformats.org/officeDocument/2006/relationships/diagramColors" Target="../diagrams/colors16.xml"/><Relationship Id="rId6" Type="http://schemas.microsoft.com/office/2007/relationships/diagramDrawing" Target="../diagrams/drawing16.xml"/><Relationship Id="rId7" Type="http://schemas.openxmlformats.org/officeDocument/2006/relationships/diagramData" Target="../diagrams/data17.xml"/><Relationship Id="rId8" Type="http://schemas.openxmlformats.org/officeDocument/2006/relationships/diagramLayout" Target="../diagrams/layout17.xml"/><Relationship Id="rId9" Type="http://schemas.openxmlformats.org/officeDocument/2006/relationships/diagramQuickStyle" Target="../diagrams/quickStyle17.xml"/><Relationship Id="rId10" Type="http://schemas.openxmlformats.org/officeDocument/2006/relationships/diagramColors" Target="../diagrams/colors17.xml"/><Relationship Id="rId11" Type="http://schemas.microsoft.com/office/2007/relationships/diagramDrawing" Target="../diagrams/drawing1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0.08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250885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Code-Schnipsel (Kapselung) (?????????????????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Objektstrukturen automatisch</a:t>
            </a:r>
          </a:p>
          <a:p>
            <a:r>
              <a:rPr lang="de-DE" dirty="0" smtClean="0"/>
              <a:t>Einfache Notation für Objekt-Transformationen 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r>
              <a:rPr lang="de-DE" dirty="0" err="1" smtClean="0"/>
              <a:t>ByteCode</a:t>
            </a:r>
            <a:r>
              <a:rPr lang="de-DE" dirty="0" smtClean="0"/>
              <a:t> Generierung für Mapping Objekte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</a:t>
            </a:r>
            <a:r>
              <a:rPr lang="de-DE" dirty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die </a:t>
            </a:r>
            <a:r>
              <a:rPr lang="de-DE" dirty="0" err="1" smtClean="0"/>
              <a:t>MapperFactory</a:t>
            </a:r>
            <a:r>
              <a:rPr lang="de-DE" dirty="0" smtClean="0"/>
              <a:t> als Singleton</a:t>
            </a:r>
          </a:p>
          <a:p>
            <a:r>
              <a:rPr lang="de-DE" dirty="0" smtClean="0"/>
              <a:t>Vermeide den automatischen </a:t>
            </a:r>
            <a:r>
              <a:rPr lang="de-DE" smtClean="0"/>
              <a:t>MapperLookUp</a:t>
            </a:r>
            <a:r>
              <a:rPr lang="de-DE" dirty="0" smtClean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0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2907</Words>
  <Application>Microsoft Macintosh PowerPoint</Application>
  <PresentationFormat>Bildschirmpräsentation (4:3)</PresentationFormat>
  <Paragraphs>907</Paragraphs>
  <Slides>42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2</vt:i4>
      </vt:variant>
    </vt:vector>
  </HeadingPairs>
  <TitlesOfParts>
    <vt:vector size="44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Der Code</vt:lpstr>
      <vt:lpstr>Best Practices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18</cp:revision>
  <dcterms:created xsi:type="dcterms:W3CDTF">2013-03-01T11:14:45Z</dcterms:created>
  <dcterms:modified xsi:type="dcterms:W3CDTF">2014-08-10T20:59:08Z</dcterms:modified>
</cp:coreProperties>
</file>